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customXml/itemProps3.xml" ContentType="application/vnd.openxmlformats-officedocument.customXml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3"/>
    <p:sldMasterId id="2147483686" r:id="rId4"/>
  </p:sldMasterIdLst>
  <p:notesMasterIdLst>
    <p:notesMasterId r:id="rId8"/>
  </p:notesMasterIdLst>
  <p:sldIdLst>
    <p:sldId id="268" r:id="rId5"/>
    <p:sldId id="274" r:id="rId6"/>
    <p:sldId id="275" r:id="rId7"/>
  </p:sldIdLst>
  <p:sldSz cx="12192000" cy="6858000"/>
  <p:notesSz cx="6858000" cy="9144000"/>
  <p:custDataLst>
    <p:tags r:id="rId9"/>
  </p:custDataLst>
  <p:defaultTextStyle>
    <a:defPPr>
      <a:defRPr lang="en-IT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4CEEA"/>
    <a:srgbClr val="ADADAD"/>
    <a:srgbClr val="ECECEC"/>
    <a:srgbClr val="FFFCC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7294" autoAdjust="0"/>
    <p:restoredTop sz="93093" autoAdjust="0"/>
  </p:normalViewPr>
  <p:slideViewPr>
    <p:cSldViewPr snapToGrid="0">
      <p:cViewPr varScale="1">
        <p:scale>
          <a:sx n="99" d="100"/>
          <a:sy n="99" d="100"/>
        </p:scale>
        <p:origin x="900" y="9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tableStyles" Target="tableStyles.xml"/><Relationship Id="rId3" Type="http://schemas.openxmlformats.org/officeDocument/2006/relationships/slideMaster" Target="slideMasters/slideMaster1.xml"/><Relationship Id="rId7" Type="http://schemas.openxmlformats.org/officeDocument/2006/relationships/slide" Target="slides/slide3.xml"/><Relationship Id="rId12" Type="http://schemas.openxmlformats.org/officeDocument/2006/relationships/theme" Target="theme/theme1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viewProps" Target="viewProps.xml"/><Relationship Id="rId5" Type="http://schemas.openxmlformats.org/officeDocument/2006/relationships/slide" Target="slides/slide1.xml"/><Relationship Id="rId15" Type="http://schemas.openxmlformats.org/officeDocument/2006/relationships/customXml" Target="../customXml/item3.xml"/><Relationship Id="rId10" Type="http://schemas.openxmlformats.org/officeDocument/2006/relationships/presProps" Target="presProps.xml"/><Relationship Id="rId4" Type="http://schemas.openxmlformats.org/officeDocument/2006/relationships/slideMaster" Target="slideMasters/slideMaster2.xml"/><Relationship Id="rId9" Type="http://schemas.openxmlformats.org/officeDocument/2006/relationships/tags" Target="tags/tag1.xml"/><Relationship Id="rId14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Ravi Dangi" userId="6fe793fd-1807-4b15-8ae3-7661d07bc15d" providerId="ADAL" clId="{57B3B2E5-CEF8-459B-8A16-5458D7EB6866}"/>
    <pc:docChg chg="modSld">
      <pc:chgData name="Ravi Dangi" userId="6fe793fd-1807-4b15-8ae3-7661d07bc15d" providerId="ADAL" clId="{57B3B2E5-CEF8-459B-8A16-5458D7EB6866}" dt="2023-02-17T13:12:53.968" v="6" actId="20577"/>
      <pc:docMkLst>
        <pc:docMk/>
      </pc:docMkLst>
      <pc:sldChg chg="modSp mod">
        <pc:chgData name="Ravi Dangi" userId="6fe793fd-1807-4b15-8ae3-7661d07bc15d" providerId="ADAL" clId="{57B3B2E5-CEF8-459B-8A16-5458D7EB6866}" dt="2023-02-17T13:12:53.968" v="6" actId="20577"/>
        <pc:sldMkLst>
          <pc:docMk/>
          <pc:sldMk cId="3793841828" sldId="274"/>
        </pc:sldMkLst>
        <pc:spChg chg="mod">
          <ac:chgData name="Ravi Dangi" userId="6fe793fd-1807-4b15-8ae3-7661d07bc15d" providerId="ADAL" clId="{57B3B2E5-CEF8-459B-8A16-5458D7EB6866}" dt="2023-02-17T13:12:53.968" v="6" actId="20577"/>
          <ac:spMkLst>
            <pc:docMk/>
            <pc:sldMk cId="3793841828" sldId="274"/>
            <ac:spMk id="2" creationId="{888DCBD0-664C-5536-30F6-8C7289C9A08F}"/>
          </ac:spMkLst>
        </pc:sp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ntestazion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3" name="Segnaposto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4B9E445-2571-459B-9BED-039E485B1477}" type="datetimeFigureOut">
              <a:rPr lang="it-IT" smtClean="0"/>
              <a:t>17/02/2023</a:t>
            </a:fld>
            <a:endParaRPr lang="it-IT"/>
          </a:p>
        </p:txBody>
      </p:sp>
      <p:sp>
        <p:nvSpPr>
          <p:cNvPr id="4" name="Segnaposto immagin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it-IT"/>
          </a:p>
        </p:txBody>
      </p:sp>
      <p:sp>
        <p:nvSpPr>
          <p:cNvPr id="5" name="Segnaposto note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6" name="Segnaposto piè di pagina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7" name="Segnaposto numero diapositiva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3B578E2-193E-4315-9F26-F11B6BEE953E}" type="slidenum">
              <a:rPr lang="it-IT" smtClean="0"/>
              <a:t>‹#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70069836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573D74C-2550-2F47-A455-7B57C8CE452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3140505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3FFB547-8F23-15E5-88B8-B6DD289C353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GB"/>
              <a:t>Click to edit Master title style</a:t>
            </a:r>
            <a:endParaRPr lang="it-IT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D6E2F9DA-A4A5-CC5B-8914-DE92BBD6E17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  <a:endParaRPr lang="it-IT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485ADE1-151F-0E8A-1595-9AC0353E997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E783FAE-FB90-9543-9D4E-0D642884262B}" type="datetimeFigureOut">
              <a:rPr lang="it-IT" smtClean="0"/>
              <a:t>17/02/2023</a:t>
            </a:fld>
            <a:endParaRPr lang="it-IT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9A35671-8D80-DF23-A81F-33E80946DC6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4B718E6-8237-0090-E000-61CD497FA03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A98804-46FB-9347-8C9C-E9FCD071FC32}" type="slidenum">
              <a:rPr lang="it-IT" smtClean="0"/>
              <a:t>‹#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66798472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4E1FAA8-77A4-A00E-B5BE-06FF664EA71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it-IT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65CC9B3A-13D5-32B4-6EE1-73BE08BFBB22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it-IT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0EEE36F-BADC-E750-91BD-E20F417537B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E783FAE-FB90-9543-9D4E-0D642884262B}" type="datetimeFigureOut">
              <a:rPr lang="it-IT" smtClean="0"/>
              <a:t>17/02/2023</a:t>
            </a:fld>
            <a:endParaRPr lang="it-IT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27007D3-DD29-C7EE-1F02-DE3D11898CC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6B7F735-61D2-2B5E-ACAF-B4C5EC0164F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A98804-46FB-9347-8C9C-E9FCD071FC32}" type="slidenum">
              <a:rPr lang="it-IT" smtClean="0"/>
              <a:t>‹#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32813985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080CC686-8F3D-F075-041D-AB1736A6060D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GB"/>
              <a:t>Click to edit Master title style</a:t>
            </a:r>
            <a:endParaRPr lang="it-IT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13EA8751-97EB-52A0-14C6-69E37977B9A6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it-IT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518BED0-03C0-1B65-422A-CE798EF7D4B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E783FAE-FB90-9543-9D4E-0D642884262B}" type="datetimeFigureOut">
              <a:rPr lang="it-IT" smtClean="0"/>
              <a:t>17/02/2023</a:t>
            </a:fld>
            <a:endParaRPr lang="it-IT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F545484-16C3-B0F1-ACEE-62A3AC0605D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10B699B-7E99-B9F3-C302-0EC4ECCA15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A98804-46FB-9347-8C9C-E9FCD071FC32}" type="slidenum">
              <a:rPr lang="it-IT" smtClean="0"/>
              <a:t>‹#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29345568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30D857C6-6755-3342-80B0-7BD3C57941C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06" y="0"/>
            <a:ext cx="12188389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CCDC9EB-23E8-FC45-8351-9833484E5D5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895108" y="2695701"/>
            <a:ext cx="5403273" cy="814263"/>
          </a:xfrm>
        </p:spPr>
        <p:txBody>
          <a:bodyPr anchor="b">
            <a:noAutofit/>
          </a:bodyPr>
          <a:lstStyle>
            <a:lvl1pPr algn="ctr">
              <a:defRPr sz="28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E7F9DA5C-0A1C-B243-B7E5-0E02220EFBE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895106" y="3602039"/>
            <a:ext cx="5296395" cy="506824"/>
          </a:xfrm>
        </p:spPr>
        <p:txBody>
          <a:bodyPr>
            <a:normAutofit/>
          </a:bodyPr>
          <a:lstStyle>
            <a:lvl1pPr marL="0" indent="0" algn="ctr">
              <a:buNone/>
              <a:defRPr sz="1600"/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54BE37B-69EB-E745-A085-26814F36E83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14377"/>
            <a:fld id="{B0CF4BC6-F271-6D4A-864E-6B707A13186E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914377"/>
              <a:t>2/17/2023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A2FACE7-AEB9-644C-BBD5-A474ACFBB6D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377"/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B9AFF3E-F08E-9945-AD4C-E77EE7B3F76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914377"/>
            <a:fld id="{2F87B65C-1F56-A64A-9D8D-FE13A4272888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914377"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646254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25FA05E-919C-EECC-B412-E2503D724E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it-IT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C0D29C6-8A80-6DD8-6C7A-000C9B179B0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it-IT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82B3AB0-4B9F-D893-0B1E-B2CFE897971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E783FAE-FB90-9543-9D4E-0D642884262B}" type="datetimeFigureOut">
              <a:rPr lang="it-IT" smtClean="0"/>
              <a:t>17/02/2023</a:t>
            </a:fld>
            <a:endParaRPr lang="it-IT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5B2E0A9-BC4D-5D7A-26E5-2BD1DF08156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893F101-FFA9-2E3E-CCA2-808FE79BAB2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A98804-46FB-9347-8C9C-E9FCD071FC32}" type="slidenum">
              <a:rPr lang="it-IT" smtClean="0"/>
              <a:t>‹#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2814355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A886525-3A3F-9A27-C908-880A9CF27B7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GB"/>
              <a:t>Click to edit Master title style</a:t>
            </a:r>
            <a:endParaRPr lang="it-IT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3C83F18-4427-506E-7692-35FB6A7F078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B1F42DB-0479-2B2D-F09D-61439A8D957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E783FAE-FB90-9543-9D4E-0D642884262B}" type="datetimeFigureOut">
              <a:rPr lang="it-IT" smtClean="0"/>
              <a:t>17/02/2023</a:t>
            </a:fld>
            <a:endParaRPr lang="it-IT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07A45CF-9FA9-542F-EA84-CD7A64D28BE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BE8D1E0-4FC9-D21E-121A-2E3D707C826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A98804-46FB-9347-8C9C-E9FCD071FC32}" type="slidenum">
              <a:rPr lang="it-IT" smtClean="0"/>
              <a:t>‹#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52852444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E04C7CA-2ECE-FC6F-80EB-DED66BE0AD2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it-IT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C851A2A-1911-699C-C6C0-754824B765AB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it-IT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E3BFD26-61F3-99D8-7499-5A60BD00B73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it-IT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E4A590D-D31D-C051-0A0C-54971ED1B4A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E783FAE-FB90-9543-9D4E-0D642884262B}" type="datetimeFigureOut">
              <a:rPr lang="it-IT" smtClean="0"/>
              <a:t>17/02/2023</a:t>
            </a:fld>
            <a:endParaRPr lang="it-IT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09A98D7-DD14-88AC-AD43-91E28A148CD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7949EC4-0705-627E-2EB0-10528E1D9E9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A98804-46FB-9347-8C9C-E9FCD071FC32}" type="slidenum">
              <a:rPr lang="it-IT" smtClean="0"/>
              <a:t>‹#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43011331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388A86E-FF38-5FC4-7807-9774493A7C9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it-IT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0686B3B-4EB6-B16F-210C-AF1C2BD910B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DDBB5EA3-2227-EC1A-A92E-62B54F9F019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it-IT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0BF3708-8D2F-2BC3-7E12-97BE3863EA7C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64A7D42-83EB-C232-26C0-5B61220300A5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it-IT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F017B9E6-50CA-2B5B-714E-6D4209D65B7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E783FAE-FB90-9543-9D4E-0D642884262B}" type="datetimeFigureOut">
              <a:rPr lang="it-IT" smtClean="0"/>
              <a:t>17/02/2023</a:t>
            </a:fld>
            <a:endParaRPr lang="it-IT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62856B0-D226-0156-60A1-6D950694899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CCD87E77-524E-C752-FA07-F788596D417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A98804-46FB-9347-8C9C-E9FCD071FC32}" type="slidenum">
              <a:rPr lang="it-IT" smtClean="0"/>
              <a:t>‹#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99032267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5CA4814-C9C9-F6F8-78FC-C6E42239193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it-IT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77A8A47-1A1D-E574-5861-F293BCBF8E4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E783FAE-FB90-9543-9D4E-0D642884262B}" type="datetimeFigureOut">
              <a:rPr lang="it-IT" smtClean="0"/>
              <a:t>17/02/2023</a:t>
            </a:fld>
            <a:endParaRPr lang="it-IT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2C4BB14-324C-E0CF-866C-4B11988146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B9594C6-0E85-7D65-80D1-A9A2D259071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A98804-46FB-9347-8C9C-E9FCD071FC32}" type="slidenum">
              <a:rPr lang="it-IT" smtClean="0"/>
              <a:t>‹#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39237769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1F6BA5F-F7F7-C719-F3EA-7759E56BDA7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E783FAE-FB90-9543-9D4E-0D642884262B}" type="datetimeFigureOut">
              <a:rPr lang="it-IT" smtClean="0"/>
              <a:t>17/02/2023</a:t>
            </a:fld>
            <a:endParaRPr lang="it-IT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570B3519-9D69-F985-A8BC-81A52E69C2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9DADC32-27BF-5000-1F93-4187B031A24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A98804-46FB-9347-8C9C-E9FCD071FC32}" type="slidenum">
              <a:rPr lang="it-IT" smtClean="0"/>
              <a:t>‹#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10634048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2F1562D-0EF4-1261-B049-D06E1E2E373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GB"/>
              <a:t>Click to edit Master title style</a:t>
            </a:r>
            <a:endParaRPr lang="it-IT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6DF3E99-CE17-F4C0-3D32-7F8666193B2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it-IT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10F4027-52D3-1A14-0266-89E9EA8378FD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843FFC8-49BA-0911-32E9-F15FE18C7BB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E783FAE-FB90-9543-9D4E-0D642884262B}" type="datetimeFigureOut">
              <a:rPr lang="it-IT" smtClean="0"/>
              <a:t>17/02/2023</a:t>
            </a:fld>
            <a:endParaRPr lang="it-IT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B2A70C7-8862-67C2-3CBA-1A3D4633A1A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FB81289-419D-D6A2-8064-BD9B587E639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A98804-46FB-9347-8C9C-E9FCD071FC32}" type="slidenum">
              <a:rPr lang="it-IT" smtClean="0"/>
              <a:t>‹#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20609986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11C05F7-5668-02EB-B788-094D5D537A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GB"/>
              <a:t>Click to edit Master title style</a:t>
            </a:r>
            <a:endParaRPr lang="it-IT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C7547DF2-D376-A502-B31F-D9DF7FEF6A75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it-IT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99DD1A5-8D00-CF75-1771-97C2F6ED9F0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2B0C00E-6CA8-57EB-53AE-3B255541CC9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E783FAE-FB90-9543-9D4E-0D642884262B}" type="datetimeFigureOut">
              <a:rPr lang="it-IT" smtClean="0"/>
              <a:t>17/02/2023</a:t>
            </a:fld>
            <a:endParaRPr lang="it-IT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6BFE9C6-3009-C7F6-03D4-266B62CB873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8239335-8C43-1BB6-9E42-97DF4F79DD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A98804-46FB-9347-8C9C-E9FCD071FC32}" type="slidenum">
              <a:rPr lang="it-IT" smtClean="0"/>
              <a:t>‹#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98469340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2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ggetto 7" hidden="1">
            <a:extLst>
              <a:ext uri="{FF2B5EF4-FFF2-40B4-BE49-F238E27FC236}">
                <a16:creationId xmlns:a16="http://schemas.microsoft.com/office/drawing/2014/main" id="{AF6D3605-5D55-4480-B5CC-56B9B6890F6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34002057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14" imgW="395" imgH="394" progId="TCLayout.ActiveDocument.1">
                  <p:embed/>
                </p:oleObj>
              </mc:Choice>
              <mc:Fallback>
                <p:oleObj name="Diapositiva think-cell" r:id="rId14" imgW="395" imgH="394" progId="TCLayout.ActiveDocument.1">
                  <p:embed/>
                  <p:pic>
                    <p:nvPicPr>
                      <p:cNvPr id="8" name="Oggetto 7" hidden="1">
                        <a:extLst>
                          <a:ext uri="{FF2B5EF4-FFF2-40B4-BE49-F238E27FC236}">
                            <a16:creationId xmlns:a16="http://schemas.microsoft.com/office/drawing/2014/main" id="{AF6D3605-5D55-4480-B5CC-56B9B6890F6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BFF7D47E-7BFD-C81C-3FDC-F335C540614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GB"/>
              <a:t>Click to edit Master title style</a:t>
            </a:r>
            <a:endParaRPr lang="it-IT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4B252CD-9546-6D3A-EEF8-9461500971C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it-IT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3167D7A-3098-D975-6797-39BE236BA71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E783FAE-FB90-9543-9D4E-0D642884262B}" type="datetimeFigureOut">
              <a:rPr lang="it-IT" smtClean="0"/>
              <a:t>17/02/2023</a:t>
            </a:fld>
            <a:endParaRPr lang="it-IT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3D46AE3-D1D9-4B61-9447-73DC2C6CED2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it-IT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DA56A83-3686-2046-2C37-693E10BE53E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BA98804-46FB-9347-8C9C-E9FCD071FC32}" type="slidenum">
              <a:rPr lang="it-IT" smtClean="0"/>
              <a:t>‹#›</a:t>
            </a:fld>
            <a:endParaRPr lang="it-IT"/>
          </a:p>
        </p:txBody>
      </p:sp>
      <p:sp>
        <p:nvSpPr>
          <p:cNvPr id="9" name="MSIPCMContentMarking" descr="{&quot;HashCode&quot;:442047029,&quot;Placement&quot;:&quot;Footer&quot;,&quot;Top&quot;:519.343,&quot;Left&quot;:453.295349,&quot;SlideWidth&quot;:960,&quot;SlideHeight&quot;:540}">
            <a:extLst>
              <a:ext uri="{FF2B5EF4-FFF2-40B4-BE49-F238E27FC236}">
                <a16:creationId xmlns:a16="http://schemas.microsoft.com/office/drawing/2014/main" id="{86A04A53-CD90-4DF5-86FC-53DD45F43A7A}"/>
              </a:ext>
            </a:extLst>
          </p:cNvPr>
          <p:cNvSpPr txBox="1"/>
          <p:nvPr userDrawn="1"/>
        </p:nvSpPr>
        <p:spPr>
          <a:xfrm>
            <a:off x="5756851" y="6595656"/>
            <a:ext cx="678298" cy="262344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US" sz="1000">
                <a:solidFill>
                  <a:srgbClr val="000000"/>
                </a:solidFill>
                <a:latin typeface="Calibri" panose="020F0502020204030204" pitchFamily="34" charset="0"/>
              </a:rPr>
              <a:t>Internal</a:t>
            </a:r>
          </a:p>
        </p:txBody>
      </p:sp>
    </p:spTree>
    <p:extLst>
      <p:ext uri="{BB962C8B-B14F-4D97-AF65-F5344CB8AC3E}">
        <p14:creationId xmlns:p14="http://schemas.microsoft.com/office/powerpoint/2010/main" val="41134848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I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ggetto 8" hidden="1">
            <a:extLst>
              <a:ext uri="{FF2B5EF4-FFF2-40B4-BE49-F238E27FC236}">
                <a16:creationId xmlns:a16="http://schemas.microsoft.com/office/drawing/2014/main" id="{9F787708-8A6A-468F-8E88-98514A501C4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6260949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4" imgW="395" imgH="394" progId="TCLayout.ActiveDocument.1">
                  <p:embed/>
                </p:oleObj>
              </mc:Choice>
              <mc:Fallback>
                <p:oleObj name="Diapositiva think-cell" r:id="rId4" imgW="395" imgH="394" progId="TCLayout.ActiveDocument.1">
                  <p:embed/>
                  <p:pic>
                    <p:nvPicPr>
                      <p:cNvPr id="9" name="Oggetto 8" hidden="1">
                        <a:extLst>
                          <a:ext uri="{FF2B5EF4-FFF2-40B4-BE49-F238E27FC236}">
                            <a16:creationId xmlns:a16="http://schemas.microsoft.com/office/drawing/2014/main" id="{9F787708-8A6A-468F-8E88-98514A501C4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>
            <a:extLst>
              <a:ext uri="{FF2B5EF4-FFF2-40B4-BE49-F238E27FC236}">
                <a16:creationId xmlns:a16="http://schemas.microsoft.com/office/drawing/2014/main" id="{07241580-564D-3B4E-9DA2-2B54174EF596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05" y="0"/>
            <a:ext cx="12188389" cy="6858000"/>
          </a:xfrm>
          <a:prstGeom prst="rect">
            <a:avLst/>
          </a:prstGeom>
        </p:spPr>
      </p:pic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C524E6F-C010-5840-A234-C3CDA017EA0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109472"/>
            <a:ext cx="10515600" cy="506749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3"/>
          <p:cNvSpPr/>
          <p:nvPr userDrawn="1"/>
        </p:nvSpPr>
        <p:spPr>
          <a:xfrm>
            <a:off x="8983579" y="75509"/>
            <a:ext cx="3160295" cy="36896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7393F7B4-DBAC-6248-A1DD-0B27986D87C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199" y="0"/>
            <a:ext cx="10515600" cy="75590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Rectangle 5"/>
          <p:cNvSpPr/>
          <p:nvPr userDrawn="1"/>
        </p:nvSpPr>
        <p:spPr>
          <a:xfrm>
            <a:off x="200526" y="6293854"/>
            <a:ext cx="3649579" cy="33153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MSIPCMContentMarking" descr="{&quot;HashCode&quot;:442047029,&quot;Placement&quot;:&quot;Footer&quot;,&quot;Top&quot;:519.343,&quot;Left&quot;:453.295349,&quot;SlideWidth&quot;:960,&quot;SlideHeight&quot;:540}">
            <a:extLst>
              <a:ext uri="{FF2B5EF4-FFF2-40B4-BE49-F238E27FC236}">
                <a16:creationId xmlns:a16="http://schemas.microsoft.com/office/drawing/2014/main" id="{D29DB98F-710C-4F6C-AFCE-144ACED189A1}"/>
              </a:ext>
            </a:extLst>
          </p:cNvPr>
          <p:cNvSpPr txBox="1"/>
          <p:nvPr userDrawn="1"/>
        </p:nvSpPr>
        <p:spPr>
          <a:xfrm>
            <a:off x="5756851" y="6595656"/>
            <a:ext cx="678298" cy="262344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it-IT" sz="1000">
                <a:solidFill>
                  <a:srgbClr val="000000"/>
                </a:solidFill>
                <a:latin typeface="Calibri" panose="020F0502020204030204" pitchFamily="34" charset="0"/>
              </a:rPr>
              <a:t>Internal</a:t>
            </a:r>
          </a:p>
        </p:txBody>
      </p:sp>
    </p:spTree>
    <p:extLst>
      <p:ext uri="{BB962C8B-B14F-4D97-AF65-F5344CB8AC3E}">
        <p14:creationId xmlns:p14="http://schemas.microsoft.com/office/powerpoint/2010/main" val="25706639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1" r:id="rId1"/>
  </p:sldLayoutIdLst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kern="1200">
          <a:solidFill>
            <a:schemeClr val="tx1">
              <a:lumMod val="50000"/>
              <a:lumOff val="50000"/>
            </a:schemeClr>
          </a:solidFill>
          <a:latin typeface="Open Sans" panose="020B0606030504020204" pitchFamily="34" charset="0"/>
          <a:ea typeface="Open Sans" panose="020B0606030504020204" pitchFamily="34" charset="0"/>
          <a:cs typeface="Open Sans" panose="020B0606030504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400" b="0" i="0" kern="1200">
          <a:solidFill>
            <a:schemeClr val="tx1"/>
          </a:solidFill>
          <a:latin typeface="Open Sans Light" panose="020B0306030504020204" pitchFamily="34" charset="0"/>
          <a:ea typeface="Open Sans Light" panose="020B0306030504020204" pitchFamily="34" charset="0"/>
          <a:cs typeface="Open Sans Light" panose="020B0306030504020204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b="0" i="0" kern="1200">
          <a:solidFill>
            <a:schemeClr val="tx1"/>
          </a:solidFill>
          <a:latin typeface="Open Sans Light" panose="020B0306030504020204" pitchFamily="34" charset="0"/>
          <a:ea typeface="Open Sans Light" panose="020B0306030504020204" pitchFamily="34" charset="0"/>
          <a:cs typeface="Open Sans Light" panose="020B0306030504020204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i="0" kern="1200">
          <a:solidFill>
            <a:schemeClr val="tx1"/>
          </a:solidFill>
          <a:latin typeface="Open Sans Light" panose="020B0306030504020204" pitchFamily="34" charset="0"/>
          <a:ea typeface="Open Sans Light" panose="020B0306030504020204" pitchFamily="34" charset="0"/>
          <a:cs typeface="Open Sans Light" panose="020B0306030504020204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b="0" i="0" kern="1200">
          <a:solidFill>
            <a:schemeClr val="tx1"/>
          </a:solidFill>
          <a:latin typeface="Open Sans Light" panose="020B0306030504020204" pitchFamily="34" charset="0"/>
          <a:ea typeface="Open Sans Light" panose="020B0306030504020204" pitchFamily="34" charset="0"/>
          <a:cs typeface="Open Sans Light" panose="020B0306030504020204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b="0" i="0" kern="1200">
          <a:solidFill>
            <a:schemeClr val="tx1"/>
          </a:solidFill>
          <a:latin typeface="Open Sans Light" panose="020B0306030504020204" pitchFamily="34" charset="0"/>
          <a:ea typeface="Open Sans Light" panose="020B0306030504020204" pitchFamily="34" charset="0"/>
          <a:cs typeface="Open Sans Light" panose="020B0306030504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it-I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3BF7B8D-1BB7-994E-B293-E232CE33339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727936" y="2871709"/>
            <a:ext cx="5689338" cy="1111368"/>
          </a:xfrm>
        </p:spPr>
        <p:txBody>
          <a:bodyPr>
            <a:noAutofit/>
          </a:bodyPr>
          <a:lstStyle/>
          <a:p>
            <a:r>
              <a:rPr lang="en-GB" sz="2400" cap="all" dirty="0">
                <a:solidFill>
                  <a:schemeClr val="accent1">
                    <a:lumMod val="75000"/>
                  </a:schemeClr>
                </a:solidFill>
              </a:rPr>
              <a:t>PROJECT OBJECTS 10</a:t>
            </a:r>
            <a:br>
              <a:rPr lang="en-GB" sz="2000" cap="all" dirty="0">
                <a:solidFill>
                  <a:schemeClr val="accent1">
                    <a:lumMod val="75000"/>
                  </a:schemeClr>
                </a:solidFill>
              </a:rPr>
            </a:br>
            <a:br>
              <a:rPr lang="en-GB" sz="2000" cap="all" dirty="0">
                <a:solidFill>
                  <a:schemeClr val="accent3"/>
                </a:solidFill>
              </a:rPr>
            </a:br>
            <a:r>
              <a:rPr lang="en-GB" sz="2000" cap="all" dirty="0">
                <a:solidFill>
                  <a:schemeClr val="accent3"/>
                </a:solidFill>
              </a:rPr>
              <a:t>DEAMAND WIDGETS</a:t>
            </a:r>
            <a:br>
              <a:rPr lang="en-GB" sz="2000" cap="all" dirty="0">
                <a:solidFill>
                  <a:schemeClr val="accent3"/>
                </a:solidFill>
              </a:rPr>
            </a:br>
            <a:r>
              <a:rPr lang="en-GB" sz="2000" cap="all" dirty="0">
                <a:solidFill>
                  <a:schemeClr val="accent3"/>
                </a:solidFill>
              </a:rPr>
              <a:t> </a:t>
            </a:r>
            <a:endParaRPr lang="en-GB" sz="2000" cap="all" dirty="0">
              <a:solidFill>
                <a:schemeClr val="bg1"/>
              </a:solidFill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3E62C4F6-6B4E-6C4E-A8F1-043F0717C673}"/>
              </a:ext>
            </a:extLst>
          </p:cNvPr>
          <p:cNvSpPr txBox="1"/>
          <p:nvPr/>
        </p:nvSpPr>
        <p:spPr>
          <a:xfrm>
            <a:off x="5646711" y="5405836"/>
            <a:ext cx="185178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de-DE"/>
            </a:defPPr>
            <a:lvl1pPr>
              <a:defRPr sz="1200" cap="small">
                <a:solidFill>
                  <a:schemeClr val="tx1">
                    <a:lumMod val="50000"/>
                    <a:lumOff val="50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GB"/>
              <a:t>© 2021 Project Objects 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BFA4F747-10B7-4CD3-93A4-AB1E75300D0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022582" y="2871709"/>
            <a:ext cx="1095528" cy="1114581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D11304C3-66A8-E2D5-61E4-34B3B8011B93}"/>
              </a:ext>
            </a:extLst>
          </p:cNvPr>
          <p:cNvSpPr txBox="1"/>
          <p:nvPr/>
        </p:nvSpPr>
        <p:spPr>
          <a:xfrm>
            <a:off x="3487918" y="575035"/>
            <a:ext cx="34336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t-IT" dirty="0"/>
              <a:t>   </a:t>
            </a:r>
          </a:p>
        </p:txBody>
      </p:sp>
    </p:spTree>
    <p:extLst>
      <p:ext uri="{BB962C8B-B14F-4D97-AF65-F5344CB8AC3E}">
        <p14:creationId xmlns:p14="http://schemas.microsoft.com/office/powerpoint/2010/main" val="20121197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88DCBD0-664C-5536-30F6-8C7289C9A0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2835" y="39887"/>
            <a:ext cx="11926330" cy="849461"/>
          </a:xfrm>
        </p:spPr>
        <p:txBody>
          <a:bodyPr>
            <a:normAutofit/>
          </a:bodyPr>
          <a:lstStyle/>
          <a:p>
            <a:r>
              <a:rPr lang="it-IT" sz="2800" dirty="0">
                <a:solidFill>
                  <a:schemeClr val="accent1">
                    <a:lumMod val="60000"/>
                    <a:lumOff val="40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DEMAND COSTS GROUPED BY DELIVERABLE</a:t>
            </a:r>
            <a:endParaRPr lang="it-IT" sz="2800" dirty="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42FBB57E-5FBA-C8F4-7AEC-D9E9101C04C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2835" y="1227113"/>
            <a:ext cx="11459245" cy="30691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9384182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88DCBD0-664C-5536-30F6-8C7289C9A0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2835" y="39887"/>
            <a:ext cx="11926330" cy="849461"/>
          </a:xfrm>
        </p:spPr>
        <p:txBody>
          <a:bodyPr>
            <a:normAutofit/>
          </a:bodyPr>
          <a:lstStyle/>
          <a:p>
            <a:r>
              <a:rPr lang="it-IT" sz="2800" dirty="0">
                <a:solidFill>
                  <a:schemeClr val="accent1">
                    <a:lumMod val="60000"/>
                    <a:lumOff val="40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DEMAND COSTS GROUPPED BY COST ELEMENT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0A4DC761-F81C-343F-2A8D-20AC0BCDF8F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2834" y="1116985"/>
            <a:ext cx="11899901" cy="44129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4189901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Tema di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969B9AF3418F1E4FAF64542603C36E5D" ma:contentTypeVersion="4" ma:contentTypeDescription="Create a new document." ma:contentTypeScope="" ma:versionID="5612d0dbe24e5bffa1b51f1769d58082">
  <xsd:schema xmlns:xsd="http://www.w3.org/2001/XMLSchema" xmlns:xs="http://www.w3.org/2001/XMLSchema" xmlns:p="http://schemas.microsoft.com/office/2006/metadata/properties" xmlns:ns2="f0434e7d-9510-4721-9b9f-15e23b467bf3" targetNamespace="http://schemas.microsoft.com/office/2006/metadata/properties" ma:root="true" ma:fieldsID="08c74e10dfb2cffb9b07c795c8180538" ns2:_="">
    <xsd:import namespace="f0434e7d-9510-4721-9b9f-15e23b467bf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0434e7d-9510-4721-9b9f-15e23b467bf3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11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C026D6C3-B212-44AB-B201-2D7B7E389C6D}"/>
</file>

<file path=customXml/itemProps2.xml><?xml version="1.0" encoding="utf-8"?>
<ds:datastoreItem xmlns:ds="http://schemas.openxmlformats.org/officeDocument/2006/customXml" ds:itemID="{31EE9C96-BE56-469B-BB4B-A36C27C3E7AE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0215549A-CABF-499B-8A48-0AAE144B8162}"/>
</file>

<file path=docProps/app.xml><?xml version="1.0" encoding="utf-8"?>
<Properties xmlns="http://schemas.openxmlformats.org/officeDocument/2006/extended-properties" xmlns:vt="http://schemas.openxmlformats.org/officeDocument/2006/docPropsVTypes">
  <TotalTime>3788</TotalTime>
  <Words>26</Words>
  <Application>Microsoft Office PowerPoint</Application>
  <PresentationFormat>Widescreen</PresentationFormat>
  <Paragraphs>6</Paragraphs>
  <Slides>3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</vt:i4>
      </vt:variant>
    </vt:vector>
  </HeadingPairs>
  <TitlesOfParts>
    <vt:vector size="11" baseType="lpstr">
      <vt:lpstr>Arial</vt:lpstr>
      <vt:lpstr>Calibri</vt:lpstr>
      <vt:lpstr>Calibri Light</vt:lpstr>
      <vt:lpstr>Open Sans</vt:lpstr>
      <vt:lpstr>Open Sans Light</vt:lpstr>
      <vt:lpstr>Office Theme</vt:lpstr>
      <vt:lpstr>1_Office Theme</vt:lpstr>
      <vt:lpstr>Diapositiva think-cell</vt:lpstr>
      <vt:lpstr>PROJECT OBJECTS 10  DEAMAND WIDGETS  </vt:lpstr>
      <vt:lpstr>DEMAND COSTS GROUPED BY DELIVERABLE</vt:lpstr>
      <vt:lpstr>DEMAND COSTS GROUPPED BY COST ELEME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Armando Rocca</dc:creator>
  <cp:lastModifiedBy>Ravi Dangi</cp:lastModifiedBy>
  <cp:revision>39</cp:revision>
  <dcterms:created xsi:type="dcterms:W3CDTF">2022-10-14T14:15:29Z</dcterms:created>
  <dcterms:modified xsi:type="dcterms:W3CDTF">2023-02-17T13:13:0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4e9da875-5044-492d-99b1-3550b54aa85b_Enabled">
    <vt:lpwstr>true</vt:lpwstr>
  </property>
  <property fmtid="{D5CDD505-2E9C-101B-9397-08002B2CF9AE}" pid="3" name="MSIP_Label_4e9da875-5044-492d-99b1-3550b54aa85b_SetDate">
    <vt:lpwstr>2022-11-07T19:16:04Z</vt:lpwstr>
  </property>
  <property fmtid="{D5CDD505-2E9C-101B-9397-08002B2CF9AE}" pid="4" name="MSIP_Label_4e9da875-5044-492d-99b1-3550b54aa85b_Method">
    <vt:lpwstr>Standard</vt:lpwstr>
  </property>
  <property fmtid="{D5CDD505-2E9C-101B-9397-08002B2CF9AE}" pid="5" name="MSIP_Label_4e9da875-5044-492d-99b1-3550b54aa85b_Name">
    <vt:lpwstr>AIT_Internal</vt:lpwstr>
  </property>
  <property fmtid="{D5CDD505-2E9C-101B-9397-08002B2CF9AE}" pid="6" name="MSIP_Label_4e9da875-5044-492d-99b1-3550b54aa85b_SiteId">
    <vt:lpwstr>396b38cc-aa65-492b-bb0e-3d94ed25a97b</vt:lpwstr>
  </property>
  <property fmtid="{D5CDD505-2E9C-101B-9397-08002B2CF9AE}" pid="7" name="MSIP_Label_4e9da875-5044-492d-99b1-3550b54aa85b_ActionId">
    <vt:lpwstr>04af73ac-722f-4441-ae24-3bd9c3f36067</vt:lpwstr>
  </property>
  <property fmtid="{D5CDD505-2E9C-101B-9397-08002B2CF9AE}" pid="8" name="MSIP_Label_4e9da875-5044-492d-99b1-3550b54aa85b_ContentBits">
    <vt:lpwstr>2</vt:lpwstr>
  </property>
  <property fmtid="{D5CDD505-2E9C-101B-9397-08002B2CF9AE}" pid="9" name="ContentTypeId">
    <vt:lpwstr>0x010100969B9AF3418F1E4FAF64542603C36E5D</vt:lpwstr>
  </property>
  <property fmtid="{D5CDD505-2E9C-101B-9397-08002B2CF9AE}" pid="10" name="Order">
    <vt:r8>221800</vt:r8>
  </property>
  <property fmtid="{D5CDD505-2E9C-101B-9397-08002B2CF9AE}" pid="11" name="_SourceUrl">
    <vt:lpwstr/>
  </property>
  <property fmtid="{D5CDD505-2E9C-101B-9397-08002B2CF9AE}" pid="12" name="_SharedFileIndex">
    <vt:lpwstr/>
  </property>
  <property fmtid="{D5CDD505-2E9C-101B-9397-08002B2CF9AE}" pid="13" name="ComplianceAssetId">
    <vt:lpwstr/>
  </property>
  <property fmtid="{D5CDD505-2E9C-101B-9397-08002B2CF9AE}" pid="14" name="_ExtendedDescription">
    <vt:lpwstr/>
  </property>
  <property fmtid="{D5CDD505-2E9C-101B-9397-08002B2CF9AE}" pid="15" name="TriggerFlowInfo">
    <vt:lpwstr/>
  </property>
</Properties>
</file>